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6.xml" ContentType="application/vnd.openxmlformats-officedocument.theme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</p:sldMasterIdLst>
  <p:notesMasterIdLst>
    <p:notesMasterId r:id="rId40"/>
  </p:notesMasterIdLst>
  <p:sldIdLst>
    <p:sldId id="643" r:id="rId6"/>
    <p:sldId id="644" r:id="rId7"/>
    <p:sldId id="623" r:id="rId8"/>
    <p:sldId id="645" r:id="rId9"/>
    <p:sldId id="624" r:id="rId10"/>
    <p:sldId id="625" r:id="rId11"/>
    <p:sldId id="646" r:id="rId12"/>
    <p:sldId id="662" r:id="rId13"/>
    <p:sldId id="647" r:id="rId14"/>
    <p:sldId id="655" r:id="rId15"/>
    <p:sldId id="626" r:id="rId16"/>
    <p:sldId id="649" r:id="rId17"/>
    <p:sldId id="648" r:id="rId18"/>
    <p:sldId id="627" r:id="rId19"/>
    <p:sldId id="650" r:id="rId20"/>
    <p:sldId id="628" r:id="rId21"/>
    <p:sldId id="629" r:id="rId22"/>
    <p:sldId id="631" r:id="rId23"/>
    <p:sldId id="630" r:id="rId24"/>
    <p:sldId id="651" r:id="rId25"/>
    <p:sldId id="633" r:id="rId26"/>
    <p:sldId id="634" r:id="rId27"/>
    <p:sldId id="635" r:id="rId28"/>
    <p:sldId id="637" r:id="rId29"/>
    <p:sldId id="652" r:id="rId30"/>
    <p:sldId id="641" r:id="rId31"/>
    <p:sldId id="640" r:id="rId32"/>
    <p:sldId id="642" r:id="rId33"/>
    <p:sldId id="656" r:id="rId34"/>
    <p:sldId id="658" r:id="rId35"/>
    <p:sldId id="659" r:id="rId36"/>
    <p:sldId id="663" r:id="rId37"/>
    <p:sldId id="661" r:id="rId38"/>
    <p:sldId id="653" r:id="rId39"/>
  </p:sldIdLst>
  <p:sldSz cx="9906000" cy="6858000" type="A4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C00"/>
    <a:srgbClr val="00CC00"/>
    <a:srgbClr val="5A8E3A"/>
    <a:srgbClr val="1B6231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8" autoAdjust="0"/>
    <p:restoredTop sz="94010" autoAdjust="0"/>
  </p:normalViewPr>
  <p:slideViewPr>
    <p:cSldViewPr>
      <p:cViewPr varScale="1">
        <p:scale>
          <a:sx n="108" d="100"/>
          <a:sy n="108" d="100"/>
        </p:scale>
        <p:origin x="1890" y="108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5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5" y="4716467"/>
            <a:ext cx="5438775" cy="4467225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20018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4537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3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8977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3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813360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3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12861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3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12094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3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9074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62.xml"/><Relationship Id="rId7" Type="http://schemas.openxmlformats.org/officeDocument/2006/relationships/image" Target="../media/image15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E35F00-3D22-4AE3-9BC8-DCEB0707C4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03856E-8774-4B5D-A5D0-A2CE1C04D1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0DB22AB-69EB-4A23-8BA7-3B16DB152F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t>5 апре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8" Type="http://schemas.openxmlformats.org/officeDocument/2006/relationships/tags" Target="../tags/tag28.xml"/><Relationship Id="rId3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3.png"/><Relationship Id="rId7" Type="http://schemas.openxmlformats.org/officeDocument/2006/relationships/image" Target="../media/image9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5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7" Type="http://schemas.openxmlformats.org/officeDocument/2006/relationships/image" Target="../media/image9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99.png"/><Relationship Id="rId7" Type="http://schemas.openxmlformats.org/officeDocument/2006/relationships/image" Target="../media/image10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106.png"/><Relationship Id="rId9" Type="http://schemas.openxmlformats.org/officeDocument/2006/relationships/image" Target="../media/image10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3" Type="http://schemas.openxmlformats.org/officeDocument/2006/relationships/image" Target="../media/image113.png"/><Relationship Id="rId7" Type="http://schemas.openxmlformats.org/officeDocument/2006/relationships/image" Target="../media/image117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7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3.png"/><Relationship Id="rId3" Type="http://schemas.openxmlformats.org/officeDocument/2006/relationships/image" Target="../media/image148.png"/><Relationship Id="rId7" Type="http://schemas.openxmlformats.org/officeDocument/2006/relationships/image" Target="../media/image1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19.pn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11" Type="http://schemas.openxmlformats.org/officeDocument/2006/relationships/image" Target="../media/image43.emf"/><Relationship Id="rId5" Type="http://schemas.openxmlformats.org/officeDocument/2006/relationships/image" Target="../media/image37.pn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3" Type="http://schemas.openxmlformats.org/officeDocument/2006/relationships/image" Target="../media/image19.png"/><Relationship Id="rId7" Type="http://schemas.openxmlformats.org/officeDocument/2006/relationships/image" Target="../media/image41.png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11" Type="http://schemas.openxmlformats.org/officeDocument/2006/relationships/image" Target="../media/image54.png"/><Relationship Id="rId5" Type="http://schemas.openxmlformats.org/officeDocument/2006/relationships/image" Target="../media/image49.png"/><Relationship Id="rId10" Type="http://schemas.openxmlformats.org/officeDocument/2006/relationships/image" Target="../media/image53.png"/><Relationship Id="rId4" Type="http://schemas.openxmlformats.org/officeDocument/2006/relationships/image" Target="../media/image36.png"/><Relationship Id="rId9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3" Type="http://schemas.openxmlformats.org/officeDocument/2006/relationships/image" Target="../media/image46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" Type="http://schemas.openxmlformats.org/officeDocument/2006/relationships/image" Target="../media/image19.png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ru-RU" altLang="ru-RU" sz="1800" b="1" cap="all" dirty="0">
                <a:solidFill>
                  <a:schemeClr val="tx1"/>
                </a:solidFill>
              </a:rPr>
              <a:t>Россельхозбанк – опорный банк для АПК и сельских территор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6" name="AcnActionTitle_ID_9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83958" y="5090427"/>
            <a:ext cx="1524596" cy="21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4295" tIns="37148" rIns="74295" bIns="37148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056"/>
              </a:lnSpc>
              <a:spcBef>
                <a:spcPct val="0"/>
              </a:spcBef>
              <a:spcAft>
                <a:spcPts val="529"/>
              </a:spcAft>
              <a:buNone/>
            </a:pPr>
            <a:r>
              <a:rPr lang="ru-RU" altLang="ru-RU" sz="1083" cap="all" dirty="0">
                <a:latin typeface="Arial" panose="020B0604020202020204" pitchFamily="34" charset="0"/>
              </a:rPr>
              <a:t>Март</a:t>
            </a:r>
            <a:r>
              <a:rPr lang="ru-RU" altLang="ru-RU" sz="1083" dirty="0">
                <a:latin typeface="Arial" panose="020B0604020202020204" pitchFamily="34" charset="0"/>
              </a:rPr>
              <a:t> 2021</a:t>
            </a:r>
            <a:endParaRPr lang="en-US" altLang="ru-RU" sz="1083" dirty="0">
              <a:latin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2988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0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72" y="1052736"/>
            <a:ext cx="4499015" cy="223224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8945" y="980728"/>
            <a:ext cx="3814667" cy="178478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6696" y="5163226"/>
            <a:ext cx="6900163" cy="668970"/>
          </a:xfrm>
          <a:prstGeom prst="rect">
            <a:avLst/>
          </a:prstGeom>
        </p:spPr>
      </p:pic>
      <p:grpSp>
        <p:nvGrpSpPr>
          <p:cNvPr id="16" name="Группа 15"/>
          <p:cNvGrpSpPr/>
          <p:nvPr/>
        </p:nvGrpSpPr>
        <p:grpSpPr>
          <a:xfrm>
            <a:off x="2290049" y="3103209"/>
            <a:ext cx="6633563" cy="1859790"/>
            <a:chOff x="1743382" y="3100291"/>
            <a:chExt cx="6633563" cy="1859790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43382" y="3679468"/>
              <a:ext cx="4284355" cy="1280613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27737" y="3100291"/>
              <a:ext cx="2349208" cy="18597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939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1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57828" y="1099010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Воспользоваться </a:t>
            </a:r>
            <a:r>
              <a:rPr lang="ru-RU" sz="2000" b="1" u="sng" dirty="0" smtClean="0"/>
              <a:t>бизнес-сервисами:</a:t>
            </a:r>
            <a:endParaRPr lang="ru-RU" sz="2000" b="1" u="sng" dirty="0"/>
          </a:p>
        </p:txBody>
      </p:sp>
      <p:grpSp>
        <p:nvGrpSpPr>
          <p:cNvPr id="24" name="Группа 23"/>
          <p:cNvGrpSpPr/>
          <p:nvPr/>
        </p:nvGrpSpPr>
        <p:grpSpPr>
          <a:xfrm>
            <a:off x="1280592" y="1895853"/>
            <a:ext cx="7338929" cy="2932396"/>
            <a:chOff x="1280592" y="1895853"/>
            <a:chExt cx="7338929" cy="293239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80592" y="1926358"/>
              <a:ext cx="1390844" cy="1476581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90042" y="1926358"/>
              <a:ext cx="1352739" cy="1505160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257256" y="1916832"/>
              <a:ext cx="1362265" cy="1514686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340147" y="3262307"/>
              <a:ext cx="1362265" cy="1514686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4723" y="1895853"/>
              <a:ext cx="1390844" cy="1562318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28951" y="3243254"/>
              <a:ext cx="1352739" cy="1533739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205599" y="3284984"/>
              <a:ext cx="1371791" cy="1543265"/>
            </a:xfrm>
            <a:prstGeom prst="rect">
              <a:avLst/>
            </a:prstGeom>
          </p:spPr>
        </p:pic>
      </p:grpSp>
      <p:sp>
        <p:nvSpPr>
          <p:cNvPr id="66" name="Овал 65"/>
          <p:cNvSpPr/>
          <p:nvPr/>
        </p:nvSpPr>
        <p:spPr>
          <a:xfrm>
            <a:off x="407315" y="1139080"/>
            <a:ext cx="353987" cy="36004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684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72" y="1420549"/>
            <a:ext cx="1390844" cy="147658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8704" y="1196752"/>
            <a:ext cx="3213563" cy="220734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1578" y="1196752"/>
            <a:ext cx="3043524" cy="2304256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229051" y="3654569"/>
            <a:ext cx="8717119" cy="2712600"/>
            <a:chOff x="229051" y="3654569"/>
            <a:chExt cx="8717119" cy="2712600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29051" y="3789040"/>
              <a:ext cx="1362265" cy="1514686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88704" y="3654569"/>
              <a:ext cx="3103118" cy="2122886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843052" y="3654569"/>
              <a:ext cx="3103118" cy="2712600"/>
            </a:xfrm>
            <a:prstGeom prst="rect">
              <a:avLst/>
            </a:prstGeom>
          </p:spPr>
        </p:pic>
        <p:sp>
          <p:nvSpPr>
            <p:cNvPr id="20" name="Овал 19"/>
            <p:cNvSpPr/>
            <p:nvPr/>
          </p:nvSpPr>
          <p:spPr>
            <a:xfrm>
              <a:off x="3368824" y="4394976"/>
              <a:ext cx="1452914" cy="1231785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4" name="Прямая со стрелкой 23"/>
            <p:cNvCxnSpPr/>
            <p:nvPr/>
          </p:nvCxnSpPr>
          <p:spPr>
            <a:xfrm flipV="1">
              <a:off x="4802536" y="4149080"/>
              <a:ext cx="1019042" cy="726136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0556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3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488" y="1237310"/>
            <a:ext cx="1352739" cy="153373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4688" y="1341673"/>
            <a:ext cx="4032448" cy="296931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9144" y="1034516"/>
            <a:ext cx="3128940" cy="1939326"/>
          </a:xfrm>
          <a:prstGeom prst="rect">
            <a:avLst/>
          </a:prstGeom>
        </p:spPr>
      </p:pic>
      <p:grpSp>
        <p:nvGrpSpPr>
          <p:cNvPr id="23" name="Группа 22"/>
          <p:cNvGrpSpPr/>
          <p:nvPr/>
        </p:nvGrpSpPr>
        <p:grpSpPr>
          <a:xfrm>
            <a:off x="2364160" y="4479920"/>
            <a:ext cx="6634402" cy="1145373"/>
            <a:chOff x="5218613" y="5049776"/>
            <a:chExt cx="6634402" cy="1145373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28855" y="5150984"/>
              <a:ext cx="4624160" cy="1044165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18613" y="5049776"/>
              <a:ext cx="2004170" cy="7784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319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4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59166" y="1237804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Воспользоваться </a:t>
            </a:r>
            <a:r>
              <a:rPr lang="ru-RU" sz="2000" b="1" u="sng" dirty="0" smtClean="0"/>
              <a:t>Банковскими услугами:</a:t>
            </a:r>
            <a:endParaRPr lang="ru-RU" sz="2000" b="1" u="sng" dirty="0"/>
          </a:p>
        </p:txBody>
      </p:sp>
      <p:grpSp>
        <p:nvGrpSpPr>
          <p:cNvPr id="62" name="Группа 61"/>
          <p:cNvGrpSpPr/>
          <p:nvPr/>
        </p:nvGrpSpPr>
        <p:grpSpPr>
          <a:xfrm>
            <a:off x="1898741" y="1969447"/>
            <a:ext cx="5858023" cy="3170723"/>
            <a:chOff x="1898741" y="1969447"/>
            <a:chExt cx="5858023" cy="3170723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09922" y="1991954"/>
              <a:ext cx="1352739" cy="1257475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91941" y="1969447"/>
              <a:ext cx="1343212" cy="1314633"/>
            </a:xfrm>
            <a:prstGeom prst="rect">
              <a:avLst/>
            </a:prstGeom>
          </p:spPr>
        </p:pic>
        <p:grpSp>
          <p:nvGrpSpPr>
            <p:cNvPr id="28" name="Группа 27"/>
            <p:cNvGrpSpPr/>
            <p:nvPr/>
          </p:nvGrpSpPr>
          <p:grpSpPr>
            <a:xfrm>
              <a:off x="1898741" y="3789040"/>
              <a:ext cx="1219370" cy="1351130"/>
              <a:chOff x="2647796" y="1716978"/>
              <a:chExt cx="1219370" cy="1351130"/>
            </a:xfrm>
          </p:grpSpPr>
          <p:pic>
            <p:nvPicPr>
              <p:cNvPr id="25" name="Рисунок 2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647796" y="2296475"/>
                <a:ext cx="1219370" cy="771633"/>
              </a:xfrm>
              <a:prstGeom prst="rect">
                <a:avLst/>
              </a:prstGeom>
            </p:spPr>
          </p:pic>
          <p:pic>
            <p:nvPicPr>
              <p:cNvPr id="27" name="Рисунок 26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895490" y="1716978"/>
                <a:ext cx="761365" cy="596980"/>
              </a:xfrm>
              <a:prstGeom prst="rect">
                <a:avLst/>
              </a:prstGeom>
            </p:spPr>
          </p:pic>
        </p:grpSp>
        <p:grpSp>
          <p:nvGrpSpPr>
            <p:cNvPr id="31" name="Группа 30"/>
            <p:cNvGrpSpPr/>
            <p:nvPr/>
          </p:nvGrpSpPr>
          <p:grpSpPr>
            <a:xfrm>
              <a:off x="4016896" y="3773161"/>
              <a:ext cx="1695687" cy="1225718"/>
              <a:chOff x="4114860" y="1716978"/>
              <a:chExt cx="1695687" cy="1225718"/>
            </a:xfrm>
          </p:grpSpPr>
          <p:pic>
            <p:nvPicPr>
              <p:cNvPr id="29" name="Рисунок 2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14860" y="2313958"/>
                <a:ext cx="1695687" cy="628738"/>
              </a:xfrm>
              <a:prstGeom prst="rect">
                <a:avLst/>
              </a:prstGeom>
            </p:spPr>
          </p:pic>
          <p:pic>
            <p:nvPicPr>
              <p:cNvPr id="30" name="Рисунок 2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579999" y="1716978"/>
                <a:ext cx="662856" cy="620903"/>
              </a:xfrm>
              <a:prstGeom prst="rect">
                <a:avLst/>
              </a:prstGeom>
            </p:spPr>
          </p:pic>
        </p:grpSp>
        <p:grpSp>
          <p:nvGrpSpPr>
            <p:cNvPr id="56" name="Группа 55"/>
            <p:cNvGrpSpPr/>
            <p:nvPr/>
          </p:nvGrpSpPr>
          <p:grpSpPr>
            <a:xfrm>
              <a:off x="6508815" y="3754408"/>
              <a:ext cx="1247949" cy="1279311"/>
              <a:chOff x="6165999" y="1701920"/>
              <a:chExt cx="1247949" cy="1279311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165999" y="2285809"/>
                <a:ext cx="1247949" cy="695422"/>
              </a:xfrm>
              <a:prstGeom prst="rect">
                <a:avLst/>
              </a:prstGeom>
            </p:spPr>
          </p:pic>
          <p:pic>
            <p:nvPicPr>
              <p:cNvPr id="55" name="Рисунок 5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275686" y="1701920"/>
                <a:ext cx="693538" cy="625040"/>
              </a:xfrm>
              <a:prstGeom prst="rect">
                <a:avLst/>
              </a:prstGeom>
            </p:spPr>
          </p:pic>
        </p:grpSp>
      </p:grpSp>
      <p:sp>
        <p:nvSpPr>
          <p:cNvPr id="63" name="Овал 62"/>
          <p:cNvSpPr/>
          <p:nvPr/>
        </p:nvSpPr>
        <p:spPr>
          <a:xfrm>
            <a:off x="405179" y="1263621"/>
            <a:ext cx="353987" cy="36004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83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5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103" y="1182943"/>
            <a:ext cx="1343212" cy="1314633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8931" y="1216648"/>
            <a:ext cx="4293191" cy="1625699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438201" y="2922113"/>
            <a:ext cx="9121744" cy="3531819"/>
            <a:chOff x="438201" y="2922113"/>
            <a:chExt cx="9121744" cy="3531819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438201" y="3131699"/>
              <a:ext cx="1219370" cy="1413084"/>
              <a:chOff x="2626973" y="2036972"/>
              <a:chExt cx="1219370" cy="1413084"/>
            </a:xfrm>
          </p:grpSpPr>
          <p:pic>
            <p:nvPicPr>
              <p:cNvPr id="25" name="Рисунок 2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626973" y="2678423"/>
                <a:ext cx="1219370" cy="771633"/>
              </a:xfrm>
              <a:prstGeom prst="rect">
                <a:avLst/>
              </a:prstGeom>
            </p:spPr>
          </p:pic>
          <p:pic>
            <p:nvPicPr>
              <p:cNvPr id="27" name="Рисунок 26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876798" y="2036972"/>
                <a:ext cx="761365" cy="596980"/>
              </a:xfrm>
              <a:prstGeom prst="rect">
                <a:avLst/>
              </a:prstGeom>
            </p:spPr>
          </p:pic>
        </p:grpSp>
        <p:pic>
          <p:nvPicPr>
            <p:cNvPr id="58" name="Рисунок 5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88931" y="3059134"/>
              <a:ext cx="3804783" cy="1435767"/>
            </a:xfrm>
            <a:prstGeom prst="rect">
              <a:avLst/>
            </a:prstGeom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85048" y="2922113"/>
              <a:ext cx="4174897" cy="1625699"/>
            </a:xfrm>
            <a:prstGeom prst="rect">
              <a:avLst/>
            </a:prstGeom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16019" y="4468046"/>
              <a:ext cx="4338058" cy="19858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088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6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57828" y="1099010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Узнать актуальные новости:</a:t>
            </a:r>
            <a:endParaRPr lang="ru-RU" sz="2000" b="1" u="sng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992560" y="1557103"/>
            <a:ext cx="6696744" cy="4468752"/>
            <a:chOff x="992560" y="1557103"/>
            <a:chExt cx="6696744" cy="4468752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2560" y="1557103"/>
              <a:ext cx="6696744" cy="759736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92560" y="2280326"/>
              <a:ext cx="4058920" cy="3745529"/>
            </a:xfrm>
            <a:prstGeom prst="rect">
              <a:avLst/>
            </a:prstGeom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0603" y="2374822"/>
            <a:ext cx="2542130" cy="3506188"/>
          </a:xfrm>
          <a:prstGeom prst="rect">
            <a:avLst/>
          </a:prstGeom>
        </p:spPr>
      </p:pic>
      <p:sp>
        <p:nvSpPr>
          <p:cNvPr id="49" name="Овал 48"/>
          <p:cNvSpPr/>
          <p:nvPr/>
        </p:nvSpPr>
        <p:spPr>
          <a:xfrm>
            <a:off x="400635" y="1109206"/>
            <a:ext cx="353987" cy="36004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026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7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272480" y="964373"/>
            <a:ext cx="906555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/>
              <a:t>Кто может стать участником?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grpSp>
        <p:nvGrpSpPr>
          <p:cNvPr id="22" name="Группа 21"/>
          <p:cNvGrpSpPr/>
          <p:nvPr/>
        </p:nvGrpSpPr>
        <p:grpSpPr>
          <a:xfrm>
            <a:off x="1208584" y="1504079"/>
            <a:ext cx="8859606" cy="4518054"/>
            <a:chOff x="413874" y="1155226"/>
            <a:chExt cx="9065550" cy="4548565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413874" y="1155226"/>
              <a:ext cx="9065550" cy="44012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dirty="0" smtClean="0"/>
                <a:t>Пользователями площадок могут выступать ВСЕ участники рынка АПК, независимо от формы собственности, в том числе</a:t>
              </a:r>
              <a:r>
                <a:rPr lang="ru-RU" sz="2000" b="1" dirty="0" smtClean="0"/>
                <a:t>:</a:t>
              </a:r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</a:t>
              </a:r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         сельхозтоваропроизводители</a:t>
              </a:r>
            </a:p>
            <a:p>
              <a:endParaRPr lang="ru-RU" sz="2000" b="1" dirty="0" smtClean="0"/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         производители продуктов питания</a:t>
              </a:r>
            </a:p>
            <a:p>
              <a:endParaRPr lang="ru-RU" sz="2000" b="1" dirty="0" smtClean="0"/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         поставщики </a:t>
              </a:r>
              <a:r>
                <a:rPr lang="ru-RU" sz="2000" b="1" dirty="0"/>
                <a:t>с/техники и </a:t>
              </a:r>
              <a:r>
                <a:rPr lang="ru-RU" sz="2000" b="1" dirty="0" smtClean="0"/>
                <a:t>запчастей</a:t>
              </a:r>
            </a:p>
            <a:p>
              <a:endParaRPr lang="ru-RU" sz="2000" b="1" dirty="0" smtClean="0"/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         поставщики удобрений, </a:t>
              </a:r>
              <a:r>
                <a:rPr lang="ru-RU" sz="2000" b="1" dirty="0"/>
                <a:t>агрохимии</a:t>
              </a:r>
              <a:r>
                <a:rPr lang="ru-RU" sz="2000" b="1" dirty="0" smtClean="0"/>
                <a:t> </a:t>
              </a:r>
              <a:r>
                <a:rPr lang="ru-RU" sz="2000" b="1" dirty="0"/>
                <a:t>и </a:t>
              </a:r>
              <a:r>
                <a:rPr lang="ru-RU" sz="2000" b="1" dirty="0" smtClean="0"/>
                <a:t>СЗР </a:t>
              </a:r>
            </a:p>
            <a:p>
              <a:endParaRPr lang="ru-RU" sz="2000" b="1" dirty="0" smtClean="0"/>
            </a:p>
            <a:p>
              <a:r>
                <a:rPr lang="ru-RU" sz="2000" b="1" dirty="0" smtClean="0"/>
                <a:t>                    поставщики семян</a:t>
              </a:r>
            </a:p>
            <a:p>
              <a:endParaRPr lang="ru-RU" sz="2000" b="1" dirty="0" smtClean="0"/>
            </a:p>
            <a:p>
              <a:r>
                <a:rPr lang="ru-RU" sz="2000" b="1" dirty="0"/>
                <a:t> </a:t>
              </a:r>
              <a:r>
                <a:rPr lang="ru-RU" sz="2000" b="1" dirty="0" smtClean="0"/>
                <a:t>                   поставщики животных и </a:t>
              </a:r>
              <a:r>
                <a:rPr lang="ru-RU" sz="2000" b="1" dirty="0"/>
                <a:t>кормов</a:t>
              </a:r>
              <a:endParaRPr lang="ru-RU" sz="2000" dirty="0" smtClean="0"/>
            </a:p>
          </p:txBody>
        </p:sp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8073" y="3244789"/>
              <a:ext cx="831065" cy="579650"/>
            </a:xfrm>
            <a:prstGeom prst="rect">
              <a:avLst/>
            </a:prstGeom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9628" y="4478617"/>
              <a:ext cx="831065" cy="637794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3887" y="1981434"/>
              <a:ext cx="720080" cy="589156"/>
            </a:xfrm>
            <a:prstGeom prst="rect">
              <a:avLst/>
            </a:prstGeom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8073" y="3815566"/>
              <a:ext cx="833314" cy="630420"/>
            </a:xfrm>
            <a:prstGeom prst="rect">
              <a:avLst/>
            </a:prstGeom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6507" y="5100164"/>
              <a:ext cx="728087" cy="603627"/>
            </a:xfrm>
            <a:prstGeom prst="rect">
              <a:avLst/>
            </a:prstGeom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68798" y="2616958"/>
              <a:ext cx="755169" cy="570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697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8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67492" y="102838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Для реализации сельскохозяйственной продукции и продуктов ее переработки (продуктов питания</a:t>
            </a:r>
            <a:r>
              <a:rPr lang="ru-RU" sz="2000" dirty="0"/>
              <a:t>) в формате </a:t>
            </a:r>
            <a:r>
              <a:rPr lang="en-US" sz="2000" dirty="0"/>
              <a:t>B2C </a:t>
            </a:r>
            <a:r>
              <a:rPr lang="ru-RU" sz="2000" dirty="0" smtClean="0"/>
              <a:t>создан сервис </a:t>
            </a:r>
            <a:r>
              <a:rPr lang="ru-RU" sz="2000" b="1" dirty="0" smtClean="0"/>
              <a:t>Своё.Родное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848544" y="1913315"/>
            <a:ext cx="8199082" cy="1451926"/>
            <a:chOff x="848544" y="1913315"/>
            <a:chExt cx="8199082" cy="1451926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48544" y="2256735"/>
              <a:ext cx="5223234" cy="669996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48066" y="1913315"/>
              <a:ext cx="2699560" cy="1451926"/>
            </a:xfrm>
            <a:prstGeom prst="rect">
              <a:avLst/>
            </a:prstGeom>
          </p:spPr>
        </p:pic>
      </p:grpSp>
      <p:grpSp>
        <p:nvGrpSpPr>
          <p:cNvPr id="18" name="Группа 17"/>
          <p:cNvGrpSpPr/>
          <p:nvPr/>
        </p:nvGrpSpPr>
        <p:grpSpPr>
          <a:xfrm>
            <a:off x="482798" y="3789736"/>
            <a:ext cx="2115995" cy="1799038"/>
            <a:chOff x="482798" y="3789736"/>
            <a:chExt cx="2115995" cy="1799038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8503" y="3789738"/>
              <a:ext cx="2110289" cy="1799036"/>
            </a:xfrm>
            <a:prstGeom prst="rect">
              <a:avLst/>
            </a:prstGeom>
          </p:spPr>
        </p:pic>
        <p:sp>
          <p:nvSpPr>
            <p:cNvPr id="12" name="Прямоугольник 11"/>
            <p:cNvSpPr/>
            <p:nvPr/>
          </p:nvSpPr>
          <p:spPr>
            <a:xfrm>
              <a:off x="482798" y="3789736"/>
              <a:ext cx="2115995" cy="17990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3584849" y="3756176"/>
            <a:ext cx="2232248" cy="1832597"/>
            <a:chOff x="3714225" y="3789736"/>
            <a:chExt cx="2172082" cy="1799037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14226" y="3789737"/>
              <a:ext cx="2172081" cy="1799036"/>
            </a:xfrm>
            <a:prstGeom prst="rect">
              <a:avLst/>
            </a:prstGeom>
          </p:spPr>
        </p:pic>
        <p:sp>
          <p:nvSpPr>
            <p:cNvPr id="20" name="Прямоугольник 19"/>
            <p:cNvSpPr/>
            <p:nvPr/>
          </p:nvSpPr>
          <p:spPr>
            <a:xfrm>
              <a:off x="3714225" y="3789736"/>
              <a:ext cx="2172082" cy="17990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6661863" y="3765808"/>
            <a:ext cx="2539609" cy="1822965"/>
            <a:chOff x="6661863" y="3765808"/>
            <a:chExt cx="2486929" cy="182296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61864" y="3781725"/>
              <a:ext cx="2486928" cy="1807049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6661863" y="3765808"/>
              <a:ext cx="2486929" cy="17990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3500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9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344488" y="1476295"/>
            <a:ext cx="8712969" cy="4640988"/>
            <a:chOff x="344488" y="1932254"/>
            <a:chExt cx="8712969" cy="4640988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49145" y="1932254"/>
              <a:ext cx="2808312" cy="4640988"/>
            </a:xfrm>
            <a:prstGeom prst="rect">
              <a:avLst/>
            </a:prstGeom>
          </p:spPr>
        </p:pic>
        <p:sp>
          <p:nvSpPr>
            <p:cNvPr id="17" name="Прямоугольник 16"/>
            <p:cNvSpPr/>
            <p:nvPr/>
          </p:nvSpPr>
          <p:spPr>
            <a:xfrm>
              <a:off x="344488" y="3309178"/>
              <a:ext cx="5415306" cy="9144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 smtClean="0">
                  <a:solidFill>
                    <a:schemeClr val="tx1"/>
                  </a:solidFill>
                </a:rPr>
                <a:t>Скачивайте приложение или переходите на сайт </a:t>
              </a:r>
              <a:r>
                <a:rPr lang="en-US" sz="2400" b="1" dirty="0" smtClean="0">
                  <a:solidFill>
                    <a:schemeClr val="tx1"/>
                  </a:solidFill>
                </a:rPr>
                <a:t>svoe-rodnoe.ru</a:t>
              </a:r>
              <a:r>
                <a:rPr lang="ru-RU" sz="2400" dirty="0" smtClean="0">
                  <a:solidFill>
                    <a:schemeClr val="tx1"/>
                  </a:solidFill>
                </a:rPr>
                <a:t>, покупайте натуральную фермерскую продукцию по ценам производителя с доставкой домой и в офис </a:t>
              </a:r>
              <a:endParaRPr lang="ru-RU" sz="2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531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ПЛАТФОРМА РОССЕЛЬХОЗБАНКА</a:t>
            </a:r>
          </a:p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«СВО</a:t>
            </a:r>
            <a:r>
              <a:rPr lang="ru-RU" altLang="ru-RU" sz="1950" cap="all" dirty="0">
                <a:solidFill>
                  <a:schemeClr val="tx1"/>
                </a:solidFill>
              </a:rPr>
              <a:t>Ё</a:t>
            </a:r>
            <a:r>
              <a:rPr lang="ru-RU" altLang="ru-RU" sz="1950" cap="all" dirty="0" smtClean="0">
                <a:solidFill>
                  <a:schemeClr val="tx1"/>
                </a:solidFill>
              </a:rPr>
              <a:t>.ФЕРМЕРСТВО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4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0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8" y="4738124"/>
            <a:ext cx="8913011" cy="121616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2408" y="1230570"/>
            <a:ext cx="1705131" cy="3522784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1489822" y="1628800"/>
            <a:ext cx="6465225" cy="3602590"/>
            <a:chOff x="2457778" y="4174944"/>
            <a:chExt cx="5331014" cy="2856051"/>
          </a:xfrm>
          <a:solidFill>
            <a:schemeClr val="bg1"/>
          </a:solidFill>
        </p:grpSpPr>
        <p:sp>
          <p:nvSpPr>
            <p:cNvPr id="20" name="7-конечная звезда 19"/>
            <p:cNvSpPr/>
            <p:nvPr/>
          </p:nvSpPr>
          <p:spPr>
            <a:xfrm>
              <a:off x="2457778" y="4174944"/>
              <a:ext cx="2716576" cy="1712589"/>
            </a:xfrm>
            <a:prstGeom prst="star7">
              <a:avLst/>
            </a:prstGeom>
            <a:grpFill/>
            <a:ln w="254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 smtClean="0">
                  <a:solidFill>
                    <a:schemeClr val="tx1"/>
                  </a:solidFill>
                </a:rPr>
                <a:t>1079 фермеров </a:t>
              </a:r>
              <a:r>
                <a:rPr lang="ru-RU" sz="1600" dirty="0" smtClean="0">
                  <a:solidFill>
                    <a:schemeClr val="tx1"/>
                  </a:solidFill>
                </a:rPr>
                <a:t>зарегистрировано с витриной своей продукции</a:t>
              </a:r>
              <a:endParaRPr lang="ru-RU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7-конечная звезда 20"/>
            <p:cNvSpPr/>
            <p:nvPr/>
          </p:nvSpPr>
          <p:spPr>
            <a:xfrm>
              <a:off x="5052045" y="4313737"/>
              <a:ext cx="2088232" cy="1455420"/>
            </a:xfrm>
            <a:prstGeom prst="star7">
              <a:avLst/>
            </a:prstGeom>
            <a:grpFill/>
            <a:ln w="190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 smtClean="0">
                  <a:solidFill>
                    <a:schemeClr val="tx1"/>
                  </a:solidFill>
                </a:rPr>
                <a:t>2 758 фермеров </a:t>
              </a:r>
              <a:r>
                <a:rPr lang="ru-RU" sz="1600" dirty="0" smtClean="0">
                  <a:solidFill>
                    <a:schemeClr val="tx1"/>
                  </a:solidFill>
                </a:rPr>
                <a:t>в стадии регистрации</a:t>
              </a:r>
              <a:endParaRPr lang="ru-RU" sz="1600" dirty="0">
                <a:solidFill>
                  <a:schemeClr val="tx1"/>
                </a:solidFill>
              </a:endParaRPr>
            </a:p>
          </p:txBody>
        </p:sp>
        <p:sp>
          <p:nvSpPr>
            <p:cNvPr id="22" name="7-конечная звезда 21"/>
            <p:cNvSpPr/>
            <p:nvPr/>
          </p:nvSpPr>
          <p:spPr>
            <a:xfrm>
              <a:off x="3294636" y="5667238"/>
              <a:ext cx="2141121" cy="1363757"/>
            </a:xfrm>
            <a:prstGeom prst="star7">
              <a:avLst/>
            </a:prstGeom>
            <a:grpFill/>
            <a:ln w="254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 smtClean="0">
                  <a:solidFill>
                    <a:schemeClr val="tx1"/>
                  </a:solidFill>
                </a:rPr>
                <a:t>Ростовская область               20</a:t>
              </a:r>
              <a:endParaRPr lang="ru-RU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7-конечная звезда 22"/>
            <p:cNvSpPr/>
            <p:nvPr/>
          </p:nvSpPr>
          <p:spPr>
            <a:xfrm>
              <a:off x="5647671" y="5508381"/>
              <a:ext cx="2141121" cy="1363757"/>
            </a:xfrm>
            <a:prstGeom prst="star7">
              <a:avLst/>
            </a:prstGeom>
            <a:grpFill/>
            <a:ln w="254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 smtClean="0">
                  <a:solidFill>
                    <a:schemeClr val="tx1"/>
                  </a:solidFill>
                </a:rPr>
                <a:t>Ростовская область               74</a:t>
              </a:r>
              <a:endParaRPr lang="ru-RU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200472" y="950206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На 24.03.2021 на Своё.Родное зарегистрировано всего: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421316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1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520" y="1273870"/>
            <a:ext cx="2096591" cy="4364951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2306266" y="1196752"/>
            <a:ext cx="6916691" cy="4509666"/>
            <a:chOff x="2306266" y="1196752"/>
            <a:chExt cx="6916691" cy="4509666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3233167" y="1758846"/>
              <a:ext cx="3363714" cy="2350677"/>
              <a:chOff x="3512840" y="2662187"/>
              <a:chExt cx="3363714" cy="2350677"/>
            </a:xfrm>
          </p:grpSpPr>
          <p:pic>
            <p:nvPicPr>
              <p:cNvPr id="20" name="Рисунок 19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12840" y="2662187"/>
                <a:ext cx="3363714" cy="1126661"/>
              </a:xfrm>
              <a:prstGeom prst="rect">
                <a:avLst/>
              </a:prstGeom>
            </p:spPr>
          </p:pic>
          <p:sp>
            <p:nvSpPr>
              <p:cNvPr id="21" name="Стрелка вправо 20"/>
              <p:cNvSpPr/>
              <p:nvPr/>
            </p:nvSpPr>
            <p:spPr>
              <a:xfrm>
                <a:off x="3934557" y="4076760"/>
                <a:ext cx="2520280" cy="936104"/>
              </a:xfrm>
              <a:prstGeom prst="rightArrow">
                <a:avLst/>
              </a:prstGeom>
              <a:gradFill flip="none" rotWithShape="1">
                <a:gsLst>
                  <a:gs pos="0">
                    <a:schemeClr val="accent1">
                      <a:lumMod val="5000"/>
                      <a:lumOff val="95000"/>
                      <a:alpha val="86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05575" y="1196752"/>
              <a:ext cx="2317382" cy="4509666"/>
            </a:xfrm>
            <a:prstGeom prst="rect">
              <a:avLst/>
            </a:prstGeom>
          </p:spPr>
        </p:pic>
        <p:sp>
          <p:nvSpPr>
            <p:cNvPr id="18" name="Овал 17"/>
            <p:cNvSpPr/>
            <p:nvPr/>
          </p:nvSpPr>
          <p:spPr>
            <a:xfrm>
              <a:off x="2306266" y="2613535"/>
              <a:ext cx="416364" cy="95030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Овал 18"/>
            <p:cNvSpPr/>
            <p:nvPr/>
          </p:nvSpPr>
          <p:spPr>
            <a:xfrm>
              <a:off x="5800473" y="1676220"/>
              <a:ext cx="936104" cy="1334765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68075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911" y="1490867"/>
            <a:ext cx="2012351" cy="4300128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776536" y="1268760"/>
            <a:ext cx="8031824" cy="4549443"/>
            <a:chOff x="776536" y="1268760"/>
            <a:chExt cx="8031824" cy="4549443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11881" y="1349320"/>
              <a:ext cx="2108834" cy="4409846"/>
            </a:xfrm>
            <a:prstGeom prst="rect">
              <a:avLst/>
            </a:prstGeom>
          </p:spPr>
        </p:pic>
        <p:grpSp>
          <p:nvGrpSpPr>
            <p:cNvPr id="4" name="Группа 3"/>
            <p:cNvGrpSpPr/>
            <p:nvPr/>
          </p:nvGrpSpPr>
          <p:grpSpPr>
            <a:xfrm>
              <a:off x="776536" y="1833295"/>
              <a:ext cx="2880320" cy="2406564"/>
              <a:chOff x="776536" y="1833295"/>
              <a:chExt cx="2880320" cy="2406564"/>
            </a:xfrm>
          </p:grpSpPr>
          <p:sp>
            <p:nvSpPr>
              <p:cNvPr id="27" name="Овал 26"/>
              <p:cNvSpPr/>
              <p:nvPr/>
            </p:nvSpPr>
            <p:spPr>
              <a:xfrm>
                <a:off x="776536" y="2847102"/>
                <a:ext cx="1525241" cy="1392757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29" name="Прямая со стрелкой 28"/>
              <p:cNvCxnSpPr/>
              <p:nvPr/>
            </p:nvCxnSpPr>
            <p:spPr>
              <a:xfrm flipV="1">
                <a:off x="1856656" y="1833295"/>
                <a:ext cx="1800200" cy="1013808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Овал 29"/>
            <p:cNvSpPr/>
            <p:nvPr/>
          </p:nvSpPr>
          <p:spPr>
            <a:xfrm>
              <a:off x="1568624" y="2009354"/>
              <a:ext cx="504056" cy="36004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3811881" y="2369394"/>
              <a:ext cx="2839320" cy="400006"/>
              <a:chOff x="3811881" y="2369394"/>
              <a:chExt cx="2839320" cy="400006"/>
            </a:xfrm>
          </p:grpSpPr>
          <p:sp>
            <p:nvSpPr>
              <p:cNvPr id="28" name="Овал 27"/>
              <p:cNvSpPr/>
              <p:nvPr/>
            </p:nvSpPr>
            <p:spPr>
              <a:xfrm>
                <a:off x="3811881" y="2409360"/>
                <a:ext cx="2140157" cy="36004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1" name="Прямая со стрелкой 30"/>
              <p:cNvCxnSpPr/>
              <p:nvPr/>
            </p:nvCxnSpPr>
            <p:spPr>
              <a:xfrm flipV="1">
                <a:off x="5945242" y="2369394"/>
                <a:ext cx="705959" cy="219986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Группа 5"/>
            <p:cNvGrpSpPr/>
            <p:nvPr/>
          </p:nvGrpSpPr>
          <p:grpSpPr>
            <a:xfrm>
              <a:off x="6403163" y="1268760"/>
              <a:ext cx="2405197" cy="4549443"/>
              <a:chOff x="6403163" y="1268760"/>
              <a:chExt cx="2405197" cy="4549443"/>
            </a:xfrm>
          </p:grpSpPr>
          <p:pic>
            <p:nvPicPr>
              <p:cNvPr id="26" name="Рисунок 25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82524" y="1268760"/>
                <a:ext cx="2125836" cy="4549443"/>
              </a:xfrm>
              <a:prstGeom prst="rect">
                <a:avLst/>
              </a:prstGeom>
            </p:spPr>
          </p:pic>
          <p:sp>
            <p:nvSpPr>
              <p:cNvPr id="32" name="Овал 31"/>
              <p:cNvSpPr/>
              <p:nvPr/>
            </p:nvSpPr>
            <p:spPr>
              <a:xfrm>
                <a:off x="6403163" y="3691204"/>
                <a:ext cx="2140157" cy="96613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328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3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1189288" y="1344698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1346175"/>
            <a:ext cx="2131964" cy="4522270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1275936" y="1196752"/>
            <a:ext cx="7864183" cy="4684523"/>
            <a:chOff x="1275936" y="1196752"/>
            <a:chExt cx="7864183" cy="4684523"/>
          </a:xfrm>
        </p:grpSpPr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26352" y="1237480"/>
              <a:ext cx="2259065" cy="4595641"/>
            </a:xfrm>
            <a:prstGeom prst="rect">
              <a:avLst/>
            </a:prstGeom>
          </p:spPr>
        </p:pic>
        <p:grpSp>
          <p:nvGrpSpPr>
            <p:cNvPr id="2" name="Группа 1"/>
            <p:cNvGrpSpPr/>
            <p:nvPr/>
          </p:nvGrpSpPr>
          <p:grpSpPr>
            <a:xfrm>
              <a:off x="1566809" y="1769904"/>
              <a:ext cx="2412957" cy="2343192"/>
              <a:chOff x="1566809" y="1769904"/>
              <a:chExt cx="2412957" cy="2343192"/>
            </a:xfrm>
          </p:grpSpPr>
          <p:sp>
            <p:nvSpPr>
              <p:cNvPr id="22" name="Овал 21"/>
              <p:cNvSpPr/>
              <p:nvPr/>
            </p:nvSpPr>
            <p:spPr>
              <a:xfrm>
                <a:off x="1566809" y="2720339"/>
                <a:ext cx="1525241" cy="1392757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3" name="Прямая со стрелкой 32"/>
              <p:cNvCxnSpPr/>
              <p:nvPr/>
            </p:nvCxnSpPr>
            <p:spPr>
              <a:xfrm flipV="1">
                <a:off x="2035550" y="1769904"/>
                <a:ext cx="1944216" cy="1013806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" name="Овал 33"/>
            <p:cNvSpPr/>
            <p:nvPr/>
          </p:nvSpPr>
          <p:spPr>
            <a:xfrm>
              <a:off x="1275936" y="1907561"/>
              <a:ext cx="504056" cy="36004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3644254" y="2298301"/>
              <a:ext cx="2881722" cy="423156"/>
              <a:chOff x="3644254" y="2298301"/>
              <a:chExt cx="2881722" cy="423156"/>
            </a:xfrm>
          </p:grpSpPr>
          <p:sp>
            <p:nvSpPr>
              <p:cNvPr id="23" name="Овал 22"/>
              <p:cNvSpPr/>
              <p:nvPr/>
            </p:nvSpPr>
            <p:spPr>
              <a:xfrm>
                <a:off x="3644254" y="2361417"/>
                <a:ext cx="2140157" cy="36004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5" name="Прямая со стрелкой 34"/>
              <p:cNvCxnSpPr/>
              <p:nvPr/>
            </p:nvCxnSpPr>
            <p:spPr>
              <a:xfrm flipV="1">
                <a:off x="5820017" y="2298301"/>
                <a:ext cx="705959" cy="219986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Группа 7"/>
            <p:cNvGrpSpPr/>
            <p:nvPr/>
          </p:nvGrpSpPr>
          <p:grpSpPr>
            <a:xfrm>
              <a:off x="6419719" y="1196752"/>
              <a:ext cx="2720400" cy="4684523"/>
              <a:chOff x="6419719" y="1196752"/>
              <a:chExt cx="2720400" cy="4684523"/>
            </a:xfrm>
          </p:grpSpPr>
          <p:pic>
            <p:nvPicPr>
              <p:cNvPr id="18" name="Рисунок 17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75277" y="1196752"/>
                <a:ext cx="2315541" cy="4684523"/>
              </a:xfrm>
              <a:prstGeom prst="rect">
                <a:avLst/>
              </a:prstGeom>
            </p:spPr>
          </p:pic>
          <p:sp>
            <p:nvSpPr>
              <p:cNvPr id="36" name="Овал 35"/>
              <p:cNvSpPr/>
              <p:nvPr/>
            </p:nvSpPr>
            <p:spPr>
              <a:xfrm>
                <a:off x="6419719" y="3639671"/>
                <a:ext cx="2720400" cy="141019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543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4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67492" y="1028386"/>
            <a:ext cx="90655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В настоящее время доступны варианты доставки продукции:</a:t>
            </a: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267492" y="1542344"/>
            <a:ext cx="90655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b="1" dirty="0" smtClean="0"/>
              <a:t>Самовывоз покупателем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b="1" dirty="0" smtClean="0"/>
              <a:t>Доставка фермером (производителем) самостоятельно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b="1" dirty="0" smtClean="0"/>
              <a:t>Яндекс </a:t>
            </a:r>
            <a:r>
              <a:rPr lang="en-US" sz="2000" b="1" dirty="0" smtClean="0"/>
              <a:t>Go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sp>
        <p:nvSpPr>
          <p:cNvPr id="25" name="Прямоугольник 24"/>
          <p:cNvSpPr/>
          <p:nvPr/>
        </p:nvSpPr>
        <p:spPr>
          <a:xfrm>
            <a:off x="277414" y="2773450"/>
            <a:ext cx="90655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В стадии доработки доставка продукции:</a:t>
            </a: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sp>
        <p:nvSpPr>
          <p:cNvPr id="26" name="Прямоугольник 25"/>
          <p:cNvSpPr/>
          <p:nvPr/>
        </p:nvSpPr>
        <p:spPr>
          <a:xfrm>
            <a:off x="277414" y="3275155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b="1" dirty="0" smtClean="0"/>
              <a:t>С</a:t>
            </a:r>
            <a:r>
              <a:rPr lang="en-US" sz="2000" b="1" dirty="0" smtClean="0"/>
              <a:t>DEK</a:t>
            </a: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</a:t>
            </a:r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</a:t>
            </a:r>
            <a:endParaRPr lang="ru-RU" sz="20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0" y="3273901"/>
            <a:ext cx="4366722" cy="271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38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5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64" y="0"/>
            <a:ext cx="1607703" cy="72581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685" y="1216719"/>
            <a:ext cx="9431329" cy="4932091"/>
          </a:xfrm>
          <a:prstGeom prst="rect">
            <a:avLst/>
          </a:prstGeom>
        </p:spPr>
      </p:pic>
      <p:sp>
        <p:nvSpPr>
          <p:cNvPr id="11" name="Овал 10"/>
          <p:cNvSpPr/>
          <p:nvPr/>
        </p:nvSpPr>
        <p:spPr>
          <a:xfrm>
            <a:off x="6609184" y="2564904"/>
            <a:ext cx="720081" cy="4305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718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6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267492" y="1367761"/>
            <a:ext cx="9560770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0000"/>
                </a:solidFill>
                <a:latin typeface="+mn-lt"/>
              </a:rPr>
              <a:t>В качестве дополнительных сервисов Банк </a:t>
            </a:r>
            <a:r>
              <a:rPr lang="ru-RU" sz="2000" dirty="0" smtClean="0">
                <a:solidFill>
                  <a:srgbClr val="000000"/>
                </a:solidFill>
                <a:latin typeface="+mn-lt"/>
              </a:rPr>
              <a:t>предлагает организацию тематических </a:t>
            </a:r>
          </a:p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мини-ярмарок в формате </a:t>
            </a:r>
            <a:r>
              <a:rPr lang="ru-RU" sz="2000" b="1" dirty="0">
                <a:solidFill>
                  <a:srgbClr val="000000"/>
                </a:solidFill>
                <a:latin typeface="+mn-lt"/>
              </a:rPr>
              <a:t>«День фермера</a:t>
            </a:r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» </a:t>
            </a:r>
            <a:r>
              <a:rPr lang="ru-RU" sz="2000" b="1" dirty="0" err="1" smtClean="0">
                <a:solidFill>
                  <a:srgbClr val="000000"/>
                </a:solidFill>
                <a:latin typeface="+mn-lt"/>
              </a:rPr>
              <a:t>распологающиеся</a:t>
            </a:r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 на расстоянии от офиса Банка до 400 метров</a:t>
            </a:r>
            <a:endParaRPr lang="ru-RU" sz="2000" dirty="0" smtClean="0">
              <a:solidFill>
                <a:srgbClr val="000000"/>
              </a:solidFill>
              <a:latin typeface="+mn-lt"/>
            </a:endParaRPr>
          </a:p>
          <a:p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r>
              <a:rPr lang="ru-RU" sz="200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r>
              <a:rPr lang="ru-RU" sz="200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>
              <a:latin typeface="+mn-lt"/>
            </a:endParaRPr>
          </a:p>
          <a:p>
            <a:r>
              <a:rPr lang="ru-RU" sz="2000" b="1" dirty="0">
                <a:latin typeface="+mn-lt"/>
              </a:rPr>
              <a:t> </a:t>
            </a:r>
            <a:r>
              <a:rPr lang="ru-RU" sz="2000" b="1" dirty="0" smtClean="0">
                <a:latin typeface="+mn-lt"/>
              </a:rPr>
              <a:t>          </a:t>
            </a:r>
          </a:p>
          <a:p>
            <a:r>
              <a:rPr lang="ru-RU" sz="2000" b="1" dirty="0">
                <a:latin typeface="+mn-lt"/>
              </a:rPr>
              <a:t> </a:t>
            </a:r>
            <a:r>
              <a:rPr lang="ru-RU" sz="2000" b="1" dirty="0" smtClean="0">
                <a:latin typeface="+mn-lt"/>
              </a:rPr>
              <a:t>                  </a:t>
            </a:r>
            <a:endParaRPr lang="ru-RU" sz="2000" dirty="0" smtClean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Мини-ярмарки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080" y="4077072"/>
            <a:ext cx="3621317" cy="1997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02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7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Мини-ярмарки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04" y="1196752"/>
            <a:ext cx="3034413" cy="421576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880" y="1268760"/>
            <a:ext cx="4088170" cy="316262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1192" y="3573016"/>
            <a:ext cx="2688269" cy="306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09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8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95139" y="1640665"/>
            <a:ext cx="9710861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>
                <a:solidFill>
                  <a:srgbClr val="000000"/>
                </a:solidFill>
              </a:rPr>
              <a:t>В офисах Банка </a:t>
            </a:r>
            <a:r>
              <a:rPr lang="ru-RU" sz="2000" dirty="0" smtClean="0">
                <a:solidFill>
                  <a:srgbClr val="000000"/>
                </a:solidFill>
              </a:rPr>
              <a:t>в настоящее время организуем «Уголок фермера» для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размещения информации </a:t>
            </a:r>
            <a:r>
              <a:rPr lang="ru-RU" sz="2000" dirty="0">
                <a:solidFill>
                  <a:srgbClr val="000000"/>
                </a:solidFill>
              </a:rPr>
              <a:t>о </a:t>
            </a:r>
            <a:r>
              <a:rPr lang="ru-RU" sz="2000" dirty="0" smtClean="0">
                <a:solidFill>
                  <a:srgbClr val="000000"/>
                </a:solidFill>
              </a:rPr>
              <a:t>мерах </a:t>
            </a:r>
            <a:r>
              <a:rPr lang="ru-RU" sz="2000" dirty="0">
                <a:solidFill>
                  <a:srgbClr val="000000"/>
                </a:solidFill>
              </a:rPr>
              <a:t>государственной поддержки</a:t>
            </a:r>
            <a:r>
              <a:rPr lang="ru-RU" sz="2000" dirty="0" smtClean="0">
                <a:solidFill>
                  <a:srgbClr val="000000"/>
                </a:solidFill>
              </a:rPr>
              <a:t>,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обмена информацией </a:t>
            </a:r>
            <a:r>
              <a:rPr lang="ru-RU" sz="2000" dirty="0">
                <a:solidFill>
                  <a:srgbClr val="000000"/>
                </a:solidFill>
              </a:rPr>
              <a:t>между </a:t>
            </a:r>
            <a:r>
              <a:rPr lang="ru-RU" sz="2000" dirty="0" smtClean="0">
                <a:solidFill>
                  <a:srgbClr val="000000"/>
                </a:solidFill>
              </a:rPr>
              <a:t>фермерскими хозяйствами </a:t>
            </a:r>
            <a:r>
              <a:rPr lang="ru-RU" sz="2000" dirty="0">
                <a:solidFill>
                  <a:srgbClr val="000000"/>
                </a:solidFill>
              </a:rPr>
              <a:t>и </a:t>
            </a:r>
            <a:r>
              <a:rPr lang="ru-RU" sz="2000" dirty="0" smtClean="0">
                <a:solidFill>
                  <a:srgbClr val="000000"/>
                </a:solidFill>
              </a:rPr>
              <a:t>посетителями  офисов Банка,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прочих инфо-поводов.</a:t>
            </a:r>
            <a:endParaRPr lang="ru-RU" sz="2000" dirty="0">
              <a:solidFill>
                <a:srgbClr val="000000"/>
              </a:solidFill>
            </a:endParaRPr>
          </a:p>
          <a:p>
            <a:endParaRPr lang="ru-RU" sz="2000" dirty="0" smtClean="0">
              <a:solidFill>
                <a:srgbClr val="000000"/>
              </a:solidFill>
              <a:latin typeface="+mn-lt"/>
            </a:endParaRPr>
          </a:p>
          <a:p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r>
              <a:rPr lang="ru-RU" sz="2000" dirty="0" smtClean="0">
                <a:solidFill>
                  <a:srgbClr val="000000"/>
                </a:solidFill>
                <a:latin typeface="+mn-lt"/>
              </a:rPr>
              <a:t> </a:t>
            </a:r>
            <a:endParaRPr lang="ru-RU" sz="2000" dirty="0">
              <a:solidFill>
                <a:srgbClr val="000000"/>
              </a:solidFill>
              <a:latin typeface="+mn-lt"/>
            </a:endParaRPr>
          </a:p>
          <a:p>
            <a:r>
              <a:rPr lang="ru-RU" sz="200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>
              <a:latin typeface="+mn-lt"/>
            </a:endParaRPr>
          </a:p>
          <a:p>
            <a:r>
              <a:rPr lang="ru-RU" sz="2000" b="1" dirty="0">
                <a:latin typeface="+mn-lt"/>
              </a:rPr>
              <a:t> </a:t>
            </a:r>
            <a:r>
              <a:rPr lang="ru-RU" sz="2000" b="1" dirty="0" smtClean="0">
                <a:latin typeface="+mn-lt"/>
              </a:rPr>
              <a:t>          </a:t>
            </a:r>
          </a:p>
          <a:p>
            <a:r>
              <a:rPr lang="ru-RU" sz="2000" b="1" dirty="0">
                <a:latin typeface="+mn-lt"/>
              </a:rPr>
              <a:t> </a:t>
            </a:r>
            <a:r>
              <a:rPr lang="ru-RU" sz="2000" b="1" dirty="0" smtClean="0">
                <a:latin typeface="+mn-lt"/>
              </a:rPr>
              <a:t>                  </a:t>
            </a:r>
            <a:endParaRPr lang="ru-RU" sz="2000" dirty="0" smtClean="0">
              <a:latin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Уголок фермера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5168" y="3461652"/>
            <a:ext cx="2662706" cy="27676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0912" y="4537830"/>
            <a:ext cx="2304256" cy="1691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9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413873" y="1040915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В октябре </a:t>
            </a:r>
            <a:r>
              <a:rPr lang="ru-RU" sz="2000" dirty="0"/>
              <a:t>2020 года на выставке «Золотая осень</a:t>
            </a:r>
            <a:r>
              <a:rPr lang="ru-RU" sz="2000" dirty="0" smtClean="0"/>
              <a:t>» АО «Россельхозбанк» презентовал свою разработку – электронную площадку Цифровую экосистему </a:t>
            </a:r>
            <a:r>
              <a:rPr lang="ru-RU" sz="2000" b="1" dirty="0" smtClean="0"/>
              <a:t>Своё.Фермерство</a:t>
            </a:r>
            <a:r>
              <a:rPr lang="ru-RU" sz="2000" dirty="0"/>
              <a:t>, которая </a:t>
            </a:r>
            <a:r>
              <a:rPr lang="ru-RU" sz="2000" dirty="0" smtClean="0"/>
              <a:t>была высоко оценена Премьер-министром РФ                   М.В. Мишустиным.</a:t>
            </a:r>
            <a:endParaRPr lang="ru-RU" sz="2000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504" y="2453156"/>
            <a:ext cx="7560840" cy="344738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9467" y="2453155"/>
            <a:ext cx="2086050" cy="3447383"/>
          </a:xfrm>
          <a:prstGeom prst="rect">
            <a:avLst/>
          </a:prstGeom>
        </p:spPr>
      </p:pic>
      <p:pic>
        <p:nvPicPr>
          <p:cNvPr id="31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600" y="3068960"/>
            <a:ext cx="1503784" cy="264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7612056" y="5185862"/>
            <a:ext cx="1560872" cy="2772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voefermerstvo.ru</a:t>
            </a:r>
            <a:endParaRPr lang="ru-RU" sz="1400" b="1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753" y="3417592"/>
            <a:ext cx="1526398" cy="1518510"/>
          </a:xfrm>
          <a:prstGeom prst="rect">
            <a:avLst/>
          </a:prstGeom>
        </p:spPr>
      </p:pic>
      <p:pic>
        <p:nvPicPr>
          <p:cNvPr id="25602" name="Picture 2" descr="http://avtoorientir.ru/wp-content/uploads/2020/04/15941294_640x64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383" y="4751931"/>
            <a:ext cx="1145084" cy="1145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487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0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11" name="Прямоугольник 10"/>
          <p:cNvSpPr/>
          <p:nvPr/>
        </p:nvSpPr>
        <p:spPr>
          <a:xfrm>
            <a:off x="781482" y="1754673"/>
            <a:ext cx="906555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Содействовать созданию новых фермерских хозяйств через повышение финансовой грамотности населения в вопросах развития АПК и продвижение фермерства в лучших практиках ведения бизнеса</a:t>
            </a:r>
          </a:p>
          <a:p>
            <a:endParaRPr lang="ru-RU" sz="900" dirty="0" smtClean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Создание комплексного предложения для начинающих фермеров на базе экосистемы Свое.Фермерство, позволяющего любому предпринимателю с помощью сервисов Банка получить необходимое образование</a:t>
            </a:r>
          </a:p>
          <a:p>
            <a:endParaRPr lang="ru-RU" sz="900" dirty="0" smtClean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Обеспечение возможности быстрого перепрофилирования или повышения квалификации для граждан, решивших развивать бизнес в АПК</a:t>
            </a:r>
          </a:p>
          <a:p>
            <a:endParaRPr lang="ru-RU" sz="900" dirty="0" smtClean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Создание новых рабочих мест в агропромышленном секторе</a:t>
            </a:r>
            <a:endParaRPr lang="en-US" sz="900" dirty="0" smtClean="0">
              <a:latin typeface="Arial" panose="020B0604020202020204" pitchFamily="34" charset="0"/>
            </a:endParaRPr>
          </a:p>
          <a:p>
            <a:r>
              <a:rPr lang="ru-RU" sz="900" dirty="0" smtClean="0">
                <a:latin typeface="Arial" panose="020B0604020202020204" pitchFamily="34" charset="0"/>
              </a:rPr>
              <a:t>                    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711" y="1167103"/>
            <a:ext cx="576064" cy="48510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775" y="1288379"/>
            <a:ext cx="1364231" cy="24923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751" y="3286727"/>
            <a:ext cx="9289032" cy="214714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3080" y="4468835"/>
            <a:ext cx="2538488" cy="147873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781482" y="3649031"/>
            <a:ext cx="4124119" cy="7848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Организация на базе Агро ВУЗов обучения</a:t>
            </a:r>
          </a:p>
          <a:p>
            <a:endParaRPr lang="ru-RU" sz="900" dirty="0" smtClean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 smtClean="0">
                <a:latin typeface="Arial" panose="020B0604020202020204" pitchFamily="34" charset="0"/>
              </a:rPr>
              <a:t>Каждый регион выбирает специализации: распространенная /востребованная и уникальная отрасль сельского хозяйства</a:t>
            </a:r>
            <a:endParaRPr lang="en-US" sz="900" dirty="0" smtClean="0">
              <a:latin typeface="Arial" panose="020B0604020202020204" pitchFamily="34" charset="0"/>
            </a:endParaRPr>
          </a:p>
          <a:p>
            <a:r>
              <a:rPr lang="ru-RU" sz="900" dirty="0" smtClean="0">
                <a:latin typeface="Arial" panose="020B0604020202020204" pitchFamily="34" charset="0"/>
              </a:rPr>
              <a:t>            </a:t>
            </a:r>
          </a:p>
        </p:txBody>
      </p:sp>
    </p:spTree>
    <p:extLst>
      <p:ext uri="{BB962C8B-B14F-4D97-AF65-F5344CB8AC3E}">
        <p14:creationId xmlns:p14="http://schemas.microsoft.com/office/powerpoint/2010/main" val="205131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1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008" y="1412776"/>
            <a:ext cx="9050034" cy="417646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91269" y="1122419"/>
            <a:ext cx="61018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РГАНИЗАЦИЯ ПРОЦЕССА ОБУЧЕНИЯ</a:t>
            </a: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                          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9144" y="4783219"/>
            <a:ext cx="2225801" cy="161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79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11" name="Прямоугольник 10"/>
          <p:cNvSpPr/>
          <p:nvPr/>
        </p:nvSpPr>
        <p:spPr>
          <a:xfrm>
            <a:off x="292521" y="1145973"/>
            <a:ext cx="415642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илотный проект </a:t>
            </a:r>
            <a:r>
              <a:rPr lang="ru-RU" dirty="0" smtClean="0"/>
              <a:t>«Школа фермера» был </a:t>
            </a:r>
            <a:r>
              <a:rPr lang="ru-RU" dirty="0"/>
              <a:t>запущен в </a:t>
            </a:r>
            <a:r>
              <a:rPr lang="ru-RU" dirty="0" smtClean="0"/>
              <a:t>сентябре 2020 года. </a:t>
            </a:r>
          </a:p>
          <a:p>
            <a:r>
              <a:rPr lang="ru-RU" dirty="0" smtClean="0"/>
              <a:t>По </a:t>
            </a:r>
            <a:r>
              <a:rPr lang="ru-RU" dirty="0"/>
              <a:t>результатам обучения 114 слушателей в 4 регионах получили дипломы государственного образца. </a:t>
            </a:r>
            <a:endParaRPr lang="ru-RU" sz="900" dirty="0" smtClean="0">
              <a:latin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3850" y="1216226"/>
            <a:ext cx="1920860" cy="98329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8944" y="1314077"/>
            <a:ext cx="1698049" cy="892688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92521" y="2708920"/>
            <a:ext cx="40124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торая волна «Школы фермера» запущена в 15 регионах, обучение в которых пройдут более 350 </a:t>
            </a:r>
            <a:r>
              <a:rPr lang="ru-RU" dirty="0" smtClean="0"/>
              <a:t>слушателей.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6473" y="2627697"/>
            <a:ext cx="3585475" cy="1367172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15573" y="2613628"/>
            <a:ext cx="1771756" cy="9577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15341" y="4066169"/>
            <a:ext cx="424068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бучение доступно по 20 </a:t>
            </a:r>
            <a:r>
              <a:rPr lang="ru-RU" sz="1400" dirty="0" smtClean="0"/>
              <a:t>специализациям. </a:t>
            </a:r>
          </a:p>
          <a:p>
            <a:r>
              <a:rPr lang="ru-RU" sz="1400" dirty="0" smtClean="0"/>
              <a:t>Наряду </a:t>
            </a:r>
            <a:r>
              <a:rPr lang="ru-RU" sz="1400" dirty="0"/>
              <a:t>с традиционно популярными направлениями, такими как молочное и мясное животноводство, тепличное хозяйство, садоводство, есть и такие свежие и инновационные направления, </a:t>
            </a:r>
            <a:r>
              <a:rPr lang="ru-RU" sz="1400" dirty="0" smtClean="0"/>
              <a:t>например как </a:t>
            </a:r>
            <a:r>
              <a:rPr lang="ru-RU" sz="1400" dirty="0"/>
              <a:t>Экономика и управление сити-фермой, ремесленное </a:t>
            </a:r>
            <a:r>
              <a:rPr lang="ru-RU" sz="1400" dirty="0" smtClean="0"/>
              <a:t>сыроделание</a:t>
            </a:r>
            <a:endParaRPr lang="ru-RU" sz="14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2338" y="4366704"/>
            <a:ext cx="2376264" cy="177561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1232" y="4366704"/>
            <a:ext cx="2363818" cy="1742592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5071024" y="4066169"/>
            <a:ext cx="42406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ВУЗы, участники проекта «Школа фермера»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735767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3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91269" y="1035394"/>
            <a:ext cx="927024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Ростовский РФ АО Россельхозбанк предлагает запустить проект Школа фермера в Ростовской области, для этого необходимо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совместно 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</a:rPr>
              <a:t>с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рганами исполнительной власти, Министерством 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</a:rPr>
              <a:t>сельского хозяйства и продовольствия Ростовской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области,  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</a:rPr>
              <a:t>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университетом определить :</a:t>
            </a: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                            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1269" y="2060848"/>
            <a:ext cx="9270243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 категорию востребованных/перспективных направлений/специализаций для обучения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 меры государственной поддержки выпускникам образовательной программы «Школа фермера»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 (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гранты и др)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 экспертов предметной области по выбранным направлениям/специализациям для обучения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 технические возможности для проведения теоретических занятий, в том числе наличие  аудиторий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ельхозтоваропроизводителей и переработчиков, готовых принять у себя на производственных площадках слушателей для проведения практических занятий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оптимальное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количество слушателей «Школы фермера», обучение которых будет проходить как в онлайн-, так и в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офлайн-формате</a:t>
            </a: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оставить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</a:rPr>
              <a:t>учебно-тематические планы по выбранным направлениям/специализациям для обучения</a:t>
            </a:r>
          </a:p>
          <a:p>
            <a:pPr marL="342900" indent="-342900">
              <a:buAutoNum type="arabicPeriod" startAt="4"/>
            </a:pP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b="1" dirty="0" smtClean="0">
              <a:latin typeface="Arial" panose="020B0604020202020204" pitchFamily="34" charset="0"/>
            </a:endParaRPr>
          </a:p>
          <a:p>
            <a:r>
              <a:rPr lang="ru-RU" sz="1400" b="1" dirty="0"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                            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071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34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2648744" y="2924944"/>
            <a:ext cx="511256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rgbClr val="000000"/>
                </a:solidFill>
                <a:latin typeface="+mn-lt"/>
              </a:rPr>
              <a:t>Спасибо за внимание!</a:t>
            </a:r>
            <a:endParaRPr lang="ru-RU" sz="3600" dirty="0">
              <a:solidFill>
                <a:srgbClr val="000000"/>
              </a:solidFill>
              <a:latin typeface="+mn-lt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3600" dirty="0">
              <a:solidFill>
                <a:srgbClr val="000000"/>
              </a:solidFill>
              <a:latin typeface="+mn-lt"/>
            </a:endParaRPr>
          </a:p>
          <a:p>
            <a:r>
              <a:rPr lang="ru-RU" sz="360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endParaRPr lang="ru-RU" sz="3600" dirty="0">
              <a:solidFill>
                <a:srgbClr val="000000"/>
              </a:solidFill>
              <a:latin typeface="+mn-lt"/>
            </a:endParaRPr>
          </a:p>
          <a:p>
            <a:r>
              <a:rPr lang="ru-RU" sz="3600" dirty="0" smtClean="0">
                <a:solidFill>
                  <a:srgbClr val="000000"/>
                </a:solidFill>
                <a:latin typeface="+mn-lt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3600" b="1" dirty="0" smtClean="0">
              <a:latin typeface="+mn-lt"/>
            </a:endParaRPr>
          </a:p>
          <a:p>
            <a:r>
              <a:rPr lang="ru-RU" sz="3600" b="1" dirty="0">
                <a:latin typeface="+mn-lt"/>
              </a:rPr>
              <a:t> </a:t>
            </a:r>
            <a:r>
              <a:rPr lang="ru-RU" sz="3600" b="1" dirty="0" smtClean="0">
                <a:latin typeface="+mn-lt"/>
              </a:rPr>
              <a:t>          </a:t>
            </a:r>
          </a:p>
          <a:p>
            <a:r>
              <a:rPr lang="ru-RU" sz="3600" b="1" dirty="0">
                <a:latin typeface="+mn-lt"/>
              </a:rPr>
              <a:t> </a:t>
            </a:r>
            <a:r>
              <a:rPr lang="ru-RU" sz="3600" b="1" dirty="0" smtClean="0">
                <a:latin typeface="+mn-lt"/>
              </a:rPr>
              <a:t>                  </a:t>
            </a:r>
            <a:endParaRPr lang="ru-RU" sz="36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714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4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4738124"/>
            <a:ext cx="8913011" cy="121616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12408" y="1230570"/>
            <a:ext cx="1705131" cy="3522784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960096" y="1549580"/>
            <a:ext cx="7191271" cy="3895740"/>
            <a:chOff x="5297449" y="20244"/>
            <a:chExt cx="7191271" cy="3895740"/>
          </a:xfrm>
          <a:solidFill>
            <a:schemeClr val="bg1"/>
          </a:solidFill>
        </p:grpSpPr>
        <p:grpSp>
          <p:nvGrpSpPr>
            <p:cNvPr id="14" name="Группа 13"/>
            <p:cNvGrpSpPr/>
            <p:nvPr/>
          </p:nvGrpSpPr>
          <p:grpSpPr>
            <a:xfrm>
              <a:off x="5297449" y="20244"/>
              <a:ext cx="6279960" cy="2409568"/>
              <a:chOff x="5316560" y="164925"/>
              <a:chExt cx="6279960" cy="2409568"/>
            </a:xfrm>
            <a:grpFill/>
          </p:grpSpPr>
          <p:sp>
            <p:nvSpPr>
              <p:cNvPr id="17" name="7-конечная звезда 16"/>
              <p:cNvSpPr/>
              <p:nvPr/>
            </p:nvSpPr>
            <p:spPr>
              <a:xfrm>
                <a:off x="9004232" y="525719"/>
                <a:ext cx="2592288" cy="2048774"/>
              </a:xfrm>
              <a:prstGeom prst="star7">
                <a:avLst/>
              </a:prstGeom>
              <a:grpFill/>
              <a:ln w="2540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2400" b="1" dirty="0">
                    <a:solidFill>
                      <a:schemeClr val="tx1"/>
                    </a:solidFill>
                  </a:rPr>
                  <a:t>39 329 </a:t>
                </a:r>
                <a:r>
                  <a:rPr lang="ru-RU" sz="2400" dirty="0">
                    <a:solidFill>
                      <a:schemeClr val="tx1"/>
                    </a:solidFill>
                  </a:rPr>
                  <a:t>товаров</a:t>
                </a:r>
              </a:p>
            </p:txBody>
          </p:sp>
          <p:sp>
            <p:nvSpPr>
              <p:cNvPr id="18" name="7-конечная звезда 17"/>
              <p:cNvSpPr/>
              <p:nvPr/>
            </p:nvSpPr>
            <p:spPr>
              <a:xfrm>
                <a:off x="5316560" y="164925"/>
                <a:ext cx="3096344" cy="2088232"/>
              </a:xfrm>
              <a:prstGeom prst="star7">
                <a:avLst/>
              </a:prstGeom>
              <a:grpFill/>
              <a:ln w="2540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400" b="1" dirty="0" smtClean="0">
                    <a:solidFill>
                      <a:schemeClr val="tx1"/>
                    </a:solidFill>
                  </a:rPr>
                  <a:t>8 799 </a:t>
                </a:r>
                <a:r>
                  <a:rPr lang="ru-RU" sz="2400" dirty="0" smtClean="0">
                    <a:solidFill>
                      <a:schemeClr val="tx1"/>
                    </a:solidFill>
                  </a:rPr>
                  <a:t>поставщиков</a:t>
                </a:r>
                <a:endParaRPr lang="ru-RU" sz="2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" name="7-конечная звезда 14"/>
            <p:cNvSpPr/>
            <p:nvPr/>
          </p:nvSpPr>
          <p:spPr>
            <a:xfrm>
              <a:off x="6794390" y="1624343"/>
              <a:ext cx="2592288" cy="1720095"/>
            </a:xfrm>
            <a:prstGeom prst="star7">
              <a:avLst/>
            </a:prstGeom>
            <a:grpFill/>
            <a:ln w="254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chemeClr val="tx1"/>
                  </a:solidFill>
                </a:rPr>
                <a:t>Ростовская область               387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7-конечная звезда 15"/>
            <p:cNvSpPr/>
            <p:nvPr/>
          </p:nvSpPr>
          <p:spPr>
            <a:xfrm>
              <a:off x="9978006" y="2160240"/>
              <a:ext cx="2510714" cy="1755744"/>
            </a:xfrm>
            <a:prstGeom prst="star7">
              <a:avLst/>
            </a:prstGeom>
            <a:grpFill/>
            <a:ln w="254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dirty="0" smtClean="0">
                  <a:solidFill>
                    <a:schemeClr val="tx1"/>
                  </a:solidFill>
                </a:rPr>
                <a:t>Ростовская область               1 194</a:t>
              </a:r>
              <a:endParaRPr lang="ru-RU" sz="2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00472" y="950206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На 24.03.2021 на Своё.Фермерство зарегистрировано всего: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47480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5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413873" y="1040915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Зарегистрировавшись на </a:t>
            </a:r>
            <a:r>
              <a:rPr lang="ru-RU" sz="2000" b="1" dirty="0" smtClean="0"/>
              <a:t>Своё.Фермерство</a:t>
            </a:r>
            <a:r>
              <a:rPr lang="ru-RU" sz="2000" dirty="0" smtClean="0"/>
              <a:t> можно:</a:t>
            </a:r>
            <a:endParaRPr lang="ru-RU" sz="2000" b="1" dirty="0"/>
          </a:p>
        </p:txBody>
      </p:sp>
      <p:grpSp>
        <p:nvGrpSpPr>
          <p:cNvPr id="7191" name="Группа 7190"/>
          <p:cNvGrpSpPr/>
          <p:nvPr/>
        </p:nvGrpSpPr>
        <p:grpSpPr>
          <a:xfrm>
            <a:off x="233626" y="1950810"/>
            <a:ext cx="9372182" cy="3963696"/>
            <a:chOff x="233626" y="1950810"/>
            <a:chExt cx="9372182" cy="396369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3626" y="1961550"/>
              <a:ext cx="1705213" cy="1286054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2640" y="1961761"/>
              <a:ext cx="1781424" cy="1314633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96816" y="1961550"/>
              <a:ext cx="1771897" cy="1276528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52041" y="1950810"/>
              <a:ext cx="1752845" cy="1295581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07266" y="1971077"/>
              <a:ext cx="1724266" cy="1286054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821492" y="1961550"/>
              <a:ext cx="1724266" cy="1295581"/>
            </a:xfrm>
            <a:prstGeom prst="rect">
              <a:avLst/>
            </a:prstGeom>
          </p:spPr>
        </p:pic>
        <p:sp>
          <p:nvSpPr>
            <p:cNvPr id="10" name="Прямоугольник 9"/>
            <p:cNvSpPr/>
            <p:nvPr/>
          </p:nvSpPr>
          <p:spPr>
            <a:xfrm>
              <a:off x="255250" y="1971022"/>
              <a:ext cx="9350558" cy="129614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7179" name="Группа 7178"/>
            <p:cNvGrpSpPr/>
            <p:nvPr/>
          </p:nvGrpSpPr>
          <p:grpSpPr>
            <a:xfrm>
              <a:off x="255246" y="3019188"/>
              <a:ext cx="3075939" cy="2895317"/>
              <a:chOff x="255246" y="3019188"/>
              <a:chExt cx="3075939" cy="2895317"/>
            </a:xfrm>
          </p:grpSpPr>
          <p:pic>
            <p:nvPicPr>
              <p:cNvPr id="89" name="Рисунок 88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55250" y="3768129"/>
                <a:ext cx="3075935" cy="2069513"/>
              </a:xfrm>
              <a:prstGeom prst="rect">
                <a:avLst/>
              </a:prstGeom>
            </p:spPr>
          </p:pic>
          <p:cxnSp>
            <p:nvCxnSpPr>
              <p:cNvPr id="90" name="Прямая со стрелкой 89"/>
              <p:cNvCxnSpPr/>
              <p:nvPr/>
            </p:nvCxnSpPr>
            <p:spPr>
              <a:xfrm flipH="1">
                <a:off x="404511" y="3019188"/>
                <a:ext cx="516041" cy="991094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75" name="Прямоугольник 7174"/>
              <p:cNvSpPr/>
              <p:nvPr/>
            </p:nvSpPr>
            <p:spPr>
              <a:xfrm>
                <a:off x="255246" y="3691264"/>
                <a:ext cx="3075938" cy="2223241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7186" name="Группа 7185"/>
            <p:cNvGrpSpPr/>
            <p:nvPr/>
          </p:nvGrpSpPr>
          <p:grpSpPr>
            <a:xfrm>
              <a:off x="2696902" y="2960536"/>
              <a:ext cx="3768266" cy="2953970"/>
              <a:chOff x="2696902" y="2960536"/>
              <a:chExt cx="3768266" cy="2953970"/>
            </a:xfrm>
          </p:grpSpPr>
          <p:grpSp>
            <p:nvGrpSpPr>
              <p:cNvPr id="7184" name="Группа 7183"/>
              <p:cNvGrpSpPr/>
              <p:nvPr/>
            </p:nvGrpSpPr>
            <p:grpSpPr>
              <a:xfrm>
                <a:off x="2696902" y="2960536"/>
                <a:ext cx="3768262" cy="2953970"/>
                <a:chOff x="2696902" y="2960536"/>
                <a:chExt cx="3768262" cy="2953970"/>
              </a:xfrm>
            </p:grpSpPr>
            <p:pic>
              <p:nvPicPr>
                <p:cNvPr id="92" name="Рисунок 91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528203" y="3691264"/>
                  <a:ext cx="2936961" cy="2223242"/>
                </a:xfrm>
                <a:prstGeom prst="rect">
                  <a:avLst/>
                </a:prstGeom>
              </p:spPr>
            </p:pic>
            <p:cxnSp>
              <p:nvCxnSpPr>
                <p:cNvPr id="93" name="Прямая со стрелкой 92"/>
                <p:cNvCxnSpPr/>
                <p:nvPr/>
              </p:nvCxnSpPr>
              <p:spPr>
                <a:xfrm>
                  <a:off x="2696902" y="2960536"/>
                  <a:ext cx="982115" cy="1049746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1" name="Прямоугольник 100"/>
              <p:cNvSpPr/>
              <p:nvPr/>
            </p:nvSpPr>
            <p:spPr>
              <a:xfrm>
                <a:off x="3526544" y="3691263"/>
                <a:ext cx="2938624" cy="2221590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7185" name="Группа 7184"/>
            <p:cNvGrpSpPr/>
            <p:nvPr/>
          </p:nvGrpSpPr>
          <p:grpSpPr>
            <a:xfrm>
              <a:off x="5944007" y="3021652"/>
              <a:ext cx="3661801" cy="2891201"/>
              <a:chOff x="5944007" y="3021652"/>
              <a:chExt cx="3661801" cy="2891201"/>
            </a:xfrm>
          </p:grpSpPr>
          <p:pic>
            <p:nvPicPr>
              <p:cNvPr id="94" name="Рисунок 93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657256" y="3737583"/>
                <a:ext cx="2948552" cy="2146654"/>
              </a:xfrm>
              <a:prstGeom prst="rect">
                <a:avLst/>
              </a:prstGeom>
            </p:spPr>
          </p:pic>
          <p:cxnSp>
            <p:nvCxnSpPr>
              <p:cNvPr id="95" name="Прямая со стрелкой 94"/>
              <p:cNvCxnSpPr/>
              <p:nvPr/>
            </p:nvCxnSpPr>
            <p:spPr>
              <a:xfrm>
                <a:off x="5944007" y="3021652"/>
                <a:ext cx="856238" cy="988630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Прямоугольник 101"/>
              <p:cNvSpPr/>
              <p:nvPr/>
            </p:nvSpPr>
            <p:spPr>
              <a:xfrm>
                <a:off x="6655595" y="3689612"/>
                <a:ext cx="2950213" cy="2223241"/>
              </a:xfrm>
              <a:prstGeom prst="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7189" name="Группа 7188"/>
          <p:cNvGrpSpPr/>
          <p:nvPr/>
        </p:nvGrpSpPr>
        <p:grpSpPr>
          <a:xfrm>
            <a:off x="566565" y="1441025"/>
            <a:ext cx="9419537" cy="400110"/>
            <a:chOff x="566565" y="1441025"/>
            <a:chExt cx="9419537" cy="40011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920552" y="1441025"/>
              <a:ext cx="906555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2000" dirty="0" smtClean="0"/>
                <a:t>Купить товары для сельского хозяйства</a:t>
              </a:r>
              <a:endParaRPr lang="ru-RU" sz="2000" b="1" dirty="0"/>
            </a:p>
          </p:txBody>
        </p:sp>
        <p:sp>
          <p:nvSpPr>
            <p:cNvPr id="120" name="Овал 119"/>
            <p:cNvSpPr/>
            <p:nvPr/>
          </p:nvSpPr>
          <p:spPr>
            <a:xfrm>
              <a:off x="566565" y="1479359"/>
              <a:ext cx="353987" cy="36004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/>
                <a:t>1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99761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6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66023" y="1250945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Воспользоваться </a:t>
            </a:r>
            <a:r>
              <a:rPr lang="ru-RU" sz="2000" b="1" u="sng" dirty="0" smtClean="0"/>
              <a:t>агросервисами:</a:t>
            </a:r>
            <a:endParaRPr lang="ru-RU" sz="2000" b="1" u="sng" dirty="0"/>
          </a:p>
        </p:txBody>
      </p:sp>
      <p:grpSp>
        <p:nvGrpSpPr>
          <p:cNvPr id="7193" name="Группа 7192"/>
          <p:cNvGrpSpPr/>
          <p:nvPr/>
        </p:nvGrpSpPr>
        <p:grpSpPr>
          <a:xfrm>
            <a:off x="8222" y="1700808"/>
            <a:ext cx="9724456" cy="3063469"/>
            <a:chOff x="86222" y="2393369"/>
            <a:chExt cx="9724456" cy="3063469"/>
          </a:xfrm>
        </p:grpSpPr>
        <p:pic>
          <p:nvPicPr>
            <p:cNvPr id="7178" name="Рисунок 717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6319" y="3997205"/>
              <a:ext cx="1343212" cy="1428949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3962" y="4008836"/>
              <a:ext cx="1390844" cy="1448002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310724" y="3982916"/>
              <a:ext cx="1333686" cy="1457528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2893" y="3997772"/>
              <a:ext cx="1400370" cy="1457528"/>
            </a:xfrm>
            <a:prstGeom prst="rect">
              <a:avLst/>
            </a:prstGeom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21963" y="4018362"/>
              <a:ext cx="1371791" cy="1438476"/>
            </a:xfrm>
            <a:prstGeom prst="rect">
              <a:avLst/>
            </a:prstGeom>
          </p:spPr>
        </p:pic>
        <p:pic>
          <p:nvPicPr>
            <p:cNvPr id="7169" name="Рисунок 716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622551" y="2417825"/>
              <a:ext cx="1381318" cy="1428949"/>
            </a:xfrm>
            <a:prstGeom prst="rect">
              <a:avLst/>
            </a:prstGeom>
          </p:spPr>
        </p:pic>
        <p:pic>
          <p:nvPicPr>
            <p:cNvPr id="7171" name="Рисунок 717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6222" y="2418784"/>
              <a:ext cx="1343212" cy="1409897"/>
            </a:xfrm>
            <a:prstGeom prst="rect">
              <a:avLst/>
            </a:prstGeom>
          </p:spPr>
        </p:pic>
        <p:pic>
          <p:nvPicPr>
            <p:cNvPr id="7172" name="Рисунок 717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962261" y="2395738"/>
              <a:ext cx="1362265" cy="1400370"/>
            </a:xfrm>
            <a:prstGeom prst="rect">
              <a:avLst/>
            </a:prstGeom>
          </p:spPr>
        </p:pic>
        <p:pic>
          <p:nvPicPr>
            <p:cNvPr id="7173" name="Рисунок 717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298798" y="2393369"/>
              <a:ext cx="1371600" cy="1434353"/>
            </a:xfrm>
            <a:prstGeom prst="rect">
              <a:avLst/>
            </a:prstGeom>
          </p:spPr>
        </p:pic>
        <p:pic>
          <p:nvPicPr>
            <p:cNvPr id="7174" name="Рисунок 717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670621" y="2404494"/>
              <a:ext cx="1371791" cy="1409897"/>
            </a:xfrm>
            <a:prstGeom prst="rect">
              <a:avLst/>
            </a:prstGeom>
          </p:spPr>
        </p:pic>
        <p:pic>
          <p:nvPicPr>
            <p:cNvPr id="7180" name="Рисунок 717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265368" y="2417825"/>
              <a:ext cx="1371791" cy="1409897"/>
            </a:xfrm>
            <a:prstGeom prst="rect">
              <a:avLst/>
            </a:prstGeom>
          </p:spPr>
        </p:pic>
        <p:pic>
          <p:nvPicPr>
            <p:cNvPr id="7181" name="Рисунок 718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476992" y="3982916"/>
              <a:ext cx="1333686" cy="1409897"/>
            </a:xfrm>
            <a:prstGeom prst="rect">
              <a:avLst/>
            </a:prstGeom>
          </p:spPr>
        </p:pic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416475" y="2413188"/>
              <a:ext cx="1371791" cy="1438476"/>
            </a:xfrm>
            <a:prstGeom prst="rect">
              <a:avLst/>
            </a:prstGeom>
          </p:spPr>
        </p:pic>
      </p:grpSp>
      <p:sp>
        <p:nvSpPr>
          <p:cNvPr id="131" name="Овал 130"/>
          <p:cNvSpPr/>
          <p:nvPr/>
        </p:nvSpPr>
        <p:spPr>
          <a:xfrm>
            <a:off x="403841" y="1266597"/>
            <a:ext cx="353987" cy="36004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pic>
        <p:nvPicPr>
          <p:cNvPr id="7194" name="Рисунок 719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281094" y="4825896"/>
            <a:ext cx="6035407" cy="1453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01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7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252339" y="1130355"/>
            <a:ext cx="9420009" cy="1938605"/>
            <a:chOff x="252339" y="1130355"/>
            <a:chExt cx="9420009" cy="1938605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339" y="1331810"/>
              <a:ext cx="1368152" cy="1424377"/>
            </a:xfrm>
            <a:prstGeom prst="rect">
              <a:avLst/>
            </a:prstGeom>
          </p:spPr>
        </p:pic>
        <p:pic>
          <p:nvPicPr>
            <p:cNvPr id="7182" name="Рисунок 718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20491" y="1130355"/>
              <a:ext cx="3801843" cy="1857029"/>
            </a:xfrm>
            <a:prstGeom prst="rect">
              <a:avLst/>
            </a:prstGeom>
          </p:spPr>
        </p:pic>
        <p:pic>
          <p:nvPicPr>
            <p:cNvPr id="7183" name="Рисунок 718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17876" y="1130355"/>
              <a:ext cx="3954472" cy="1938605"/>
            </a:xfrm>
            <a:prstGeom prst="rect">
              <a:avLst/>
            </a:prstGeom>
          </p:spPr>
        </p:pic>
      </p:grpSp>
      <p:grpSp>
        <p:nvGrpSpPr>
          <p:cNvPr id="35" name="Группа 34"/>
          <p:cNvGrpSpPr/>
          <p:nvPr/>
        </p:nvGrpSpPr>
        <p:grpSpPr>
          <a:xfrm>
            <a:off x="277279" y="3212977"/>
            <a:ext cx="8924193" cy="3603618"/>
            <a:chOff x="277279" y="3212977"/>
            <a:chExt cx="8924193" cy="3603618"/>
          </a:xfrm>
        </p:grpSpPr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7279" y="3933056"/>
              <a:ext cx="1343212" cy="1409897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01845" y="3304500"/>
              <a:ext cx="3951090" cy="1627282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38971" y="3212977"/>
              <a:ext cx="3462501" cy="2167126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721212" y="3212977"/>
              <a:ext cx="1800200" cy="166848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01845" y="5075071"/>
              <a:ext cx="3796077" cy="1616955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745687" y="4907220"/>
              <a:ext cx="1562297" cy="167851"/>
            </a:xfrm>
            <a:prstGeom prst="rect">
              <a:avLst/>
            </a:prstGeom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756430" y="4962095"/>
              <a:ext cx="3346311" cy="1854500"/>
            </a:xfrm>
            <a:prstGeom prst="rect">
              <a:avLst/>
            </a:prstGeom>
          </p:spPr>
        </p:pic>
        <p:sp>
          <p:nvSpPr>
            <p:cNvPr id="49" name="Овал 48"/>
            <p:cNvSpPr/>
            <p:nvPr/>
          </p:nvSpPr>
          <p:spPr>
            <a:xfrm>
              <a:off x="3097750" y="4363560"/>
              <a:ext cx="1102565" cy="602335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0" name="Прямая со стрелкой 49"/>
            <p:cNvCxnSpPr/>
            <p:nvPr/>
          </p:nvCxnSpPr>
          <p:spPr>
            <a:xfrm flipV="1">
              <a:off x="4160912" y="3379825"/>
              <a:ext cx="1595518" cy="1201303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Овал 53"/>
            <p:cNvSpPr/>
            <p:nvPr/>
          </p:nvSpPr>
          <p:spPr>
            <a:xfrm>
              <a:off x="3057916" y="6076312"/>
              <a:ext cx="1037350" cy="61662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5" name="Прямая со стрелкой 54"/>
            <p:cNvCxnSpPr/>
            <p:nvPr/>
          </p:nvCxnSpPr>
          <p:spPr>
            <a:xfrm flipV="1">
              <a:off x="4095266" y="5074165"/>
              <a:ext cx="1622610" cy="1256082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61607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Прямая со стрелкой 35"/>
          <p:cNvCxnSpPr/>
          <p:nvPr/>
        </p:nvCxnSpPr>
        <p:spPr>
          <a:xfrm>
            <a:off x="808983" y="5371371"/>
            <a:ext cx="4140781" cy="12189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940874" y="3933056"/>
            <a:ext cx="6912768" cy="0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920552" y="2626508"/>
            <a:ext cx="6912768" cy="0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8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Рисунок 718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56" y="938983"/>
            <a:ext cx="1333686" cy="1409897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1208584" y="1185369"/>
            <a:ext cx="90655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- как создать своё фермерское хозяйство</a:t>
            </a:r>
            <a:endParaRPr lang="ru-RU" sz="20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480" y="1987351"/>
            <a:ext cx="1296144" cy="127831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105" y="1987351"/>
            <a:ext cx="1320992" cy="127831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6187" y="1987350"/>
            <a:ext cx="1286839" cy="12783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7116" y="1987351"/>
            <a:ext cx="1238082" cy="127831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9288" y="1987350"/>
            <a:ext cx="1310833" cy="127831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20983" y="1988867"/>
            <a:ext cx="1385400" cy="127679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2480" y="3385918"/>
            <a:ext cx="1296144" cy="124846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82016" y="3392458"/>
            <a:ext cx="1320992" cy="127847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56187" y="3404183"/>
            <a:ext cx="1299155" cy="127847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17175" y="3409952"/>
            <a:ext cx="1213743" cy="127847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92752" y="3406219"/>
            <a:ext cx="1287369" cy="129023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20984" y="3417764"/>
            <a:ext cx="1384870" cy="128681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91105" y="4777778"/>
            <a:ext cx="1320992" cy="121156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72481" y="4777190"/>
            <a:ext cx="1296144" cy="122207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43871" y="4777190"/>
            <a:ext cx="1299155" cy="1222079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949764" y="4777190"/>
            <a:ext cx="2039048" cy="1654447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4949764" y="4777189"/>
            <a:ext cx="2039048" cy="1654447"/>
          </a:xfrm>
          <a:prstGeom prst="rect">
            <a:avLst/>
          </a:prstGeom>
          <a:noFill/>
          <a:ln w="254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358241" y="4777189"/>
            <a:ext cx="1915239" cy="1654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23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9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26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88640"/>
            <a:ext cx="3376918" cy="59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Группа 12"/>
          <p:cNvGrpSpPr/>
          <p:nvPr/>
        </p:nvGrpSpPr>
        <p:grpSpPr>
          <a:xfrm>
            <a:off x="920552" y="1388889"/>
            <a:ext cx="7920880" cy="4600452"/>
            <a:chOff x="1635280" y="1899654"/>
            <a:chExt cx="7216667" cy="4080201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1635280" y="1899654"/>
              <a:ext cx="7216667" cy="4080201"/>
              <a:chOff x="1635280" y="1899654"/>
              <a:chExt cx="7216667" cy="4080201"/>
            </a:xfrm>
          </p:grpSpPr>
          <p:pic>
            <p:nvPicPr>
              <p:cNvPr id="7190" name="Рисунок 718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700070" y="1899654"/>
                <a:ext cx="3528392" cy="2088354"/>
              </a:xfrm>
              <a:prstGeom prst="rect">
                <a:avLst/>
              </a:prstGeom>
            </p:spPr>
          </p:pic>
          <p:pic>
            <p:nvPicPr>
              <p:cNvPr id="7191" name="Рисунок 7190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013044" y="2194564"/>
                <a:ext cx="2733413" cy="1498535"/>
              </a:xfrm>
              <a:prstGeom prst="rect">
                <a:avLst/>
              </a:prstGeom>
            </p:spPr>
          </p:pic>
          <p:pic>
            <p:nvPicPr>
              <p:cNvPr id="7192" name="Рисунок 719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47839" y="4077072"/>
                <a:ext cx="3298207" cy="1872208"/>
              </a:xfrm>
              <a:prstGeom prst="rect">
                <a:avLst/>
              </a:prstGeom>
            </p:spPr>
          </p:pic>
          <p:pic>
            <p:nvPicPr>
              <p:cNvPr id="4" name="Рисунок 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956796" y="3587310"/>
                <a:ext cx="2895151" cy="2392545"/>
              </a:xfrm>
              <a:prstGeom prst="rect">
                <a:avLst/>
              </a:prstGeom>
            </p:spPr>
          </p:pic>
          <p:grpSp>
            <p:nvGrpSpPr>
              <p:cNvPr id="19" name="Группа 18"/>
              <p:cNvGrpSpPr/>
              <p:nvPr/>
            </p:nvGrpSpPr>
            <p:grpSpPr>
              <a:xfrm>
                <a:off x="1635280" y="2348880"/>
                <a:ext cx="4469848" cy="1683660"/>
                <a:chOff x="754817" y="2460513"/>
                <a:chExt cx="4469848" cy="1683660"/>
              </a:xfrm>
            </p:grpSpPr>
            <p:sp>
              <p:nvSpPr>
                <p:cNvPr id="20" name="Овал 19"/>
                <p:cNvSpPr/>
                <p:nvPr/>
              </p:nvSpPr>
              <p:spPr>
                <a:xfrm>
                  <a:off x="754817" y="3089947"/>
                  <a:ext cx="1491574" cy="1054226"/>
                </a:xfrm>
                <a:prstGeom prst="ellipse">
                  <a:avLst/>
                </a:pr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21" name="Прямая со стрелкой 20"/>
                <p:cNvCxnSpPr/>
                <p:nvPr/>
              </p:nvCxnSpPr>
              <p:spPr>
                <a:xfrm flipV="1">
                  <a:off x="2079079" y="2460513"/>
                  <a:ext cx="3145586" cy="806399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23" name="Прямая со стрелкой 22"/>
            <p:cNvCxnSpPr/>
            <p:nvPr/>
          </p:nvCxnSpPr>
          <p:spPr>
            <a:xfrm>
              <a:off x="1719776" y="3788557"/>
              <a:ext cx="169155" cy="333047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48984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ActionTitle"/>
  <p:tag name="DATE" val="25.05.2011 13:52: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503</TotalTime>
  <Words>715</Words>
  <Application>Microsoft Office PowerPoint</Application>
  <PresentationFormat>Лист A4 (210x297 мм)</PresentationFormat>
  <Paragraphs>245</Paragraphs>
  <Slides>3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46" baseType="lpstr">
      <vt:lpstr>Arial</vt:lpstr>
      <vt:lpstr>Arial Narrow</vt:lpstr>
      <vt:lpstr>Calibri</vt:lpstr>
      <vt:lpstr>Calibri Light</vt:lpstr>
      <vt:lpstr>Courier New</vt:lpstr>
      <vt:lpstr>Wingdings</vt:lpstr>
      <vt:lpstr>Специальное оформление</vt:lpstr>
      <vt:lpstr>1_RSHB</vt:lpstr>
      <vt:lpstr>2_RSHB</vt:lpstr>
      <vt:lpstr>3_RSHB</vt:lpstr>
      <vt:lpstr>Firm Format - template_Blue</vt:lpstr>
      <vt:lpstr>think-cell Slide</vt:lpstr>
      <vt:lpstr>Россельхозбанк – опорный банк для АПК и сельских территорий</vt:lpstr>
      <vt:lpstr>Презентация PowerPoint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Презентация PowerPoint</vt:lpstr>
      <vt:lpstr> </vt:lpstr>
      <vt:lpstr> </vt:lpstr>
      <vt:lpstr> </vt:lpstr>
      <vt:lpstr> </vt:lpstr>
      <vt:lpstr> 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Захарец Ольга Тимофеевна</cp:lastModifiedBy>
  <cp:revision>846</cp:revision>
  <cp:lastPrinted>2021-03-04T07:28:37Z</cp:lastPrinted>
  <dcterms:created xsi:type="dcterms:W3CDTF">2019-11-26T12:29:04Z</dcterms:created>
  <dcterms:modified xsi:type="dcterms:W3CDTF">2021-04-05T11:55:29Z</dcterms:modified>
</cp:coreProperties>
</file>